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0"/>
  </p:notesMasterIdLst>
  <p:sldIdLst>
    <p:sldId id="366" r:id="rId2"/>
    <p:sldId id="367" r:id="rId3"/>
    <p:sldId id="370" r:id="rId4"/>
    <p:sldId id="371" r:id="rId5"/>
    <p:sldId id="372" r:id="rId6"/>
    <p:sldId id="373" r:id="rId7"/>
    <p:sldId id="374" r:id="rId8"/>
    <p:sldId id="368" r:id="rId9"/>
  </p:sldIdLst>
  <p:sldSz cx="12192000" cy="6858000"/>
  <p:notesSz cx="6858000" cy="9144000"/>
  <p:embeddedFontLst>
    <p:embeddedFont>
      <p:font typeface="Rubik" panose="00000500000000000000" pitchFamily="50" charset="-79"/>
      <p:regular r:id="rId11"/>
      <p:bold r:id="rId12"/>
      <p:italic r:id="rId13"/>
    </p:embeddedFont>
    <p:embeddedFont>
      <p:font typeface="Trebuchet MS" panose="020B0603020202020204" pitchFamily="3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3" d="100"/>
          <a:sy n="83" d="100"/>
        </p:scale>
        <p:origin x="686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10" Type="http://schemas.openxmlformats.org/officeDocument/2006/relationships/notesMaster" Target="notesMasters/notesMaster1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BAF474D-C48B-47A3-AD43-776B973A4A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You Need A Budget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Vaibhav Singal</a:t>
            </a:r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Need A Budget (YNAB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US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YNAB?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/>
              <a:t>You Need a Budget, or YNAB, is a popular paid budgeting app. While some budgeting apps only show people what they've already spent, You Need a Budget focuses on zero-based budgeting. The app teaches you to put all your money to use -- including using your money for expenses, paying off debt, and saving extra money.</a:t>
            </a:r>
          </a:p>
          <a:p>
            <a:r>
              <a:rPr lang="en-US" dirty="0"/>
              <a:t>YNAB offers an API which is REST based, uses the JSON data format and is secured with HTTPS. You can use it to build a personal application to interact with your own budget or build an application that any other </a:t>
            </a:r>
            <a:r>
              <a:rPr lang="en-US" dirty="0" err="1"/>
              <a:t>YNABer</a:t>
            </a:r>
            <a:r>
              <a:rPr lang="en-US" dirty="0"/>
              <a:t> can authorize and use. API resources require a valid access token for authentication. There are two ways to obtain access tokens: Personal Access Tokens and OAuth Applications. </a:t>
            </a:r>
          </a:p>
          <a:p>
            <a:r>
              <a:rPr lang="en-US" dirty="0"/>
              <a:t>OAuth has been used to configure authentication for this Connector build.</a:t>
            </a:r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Use Cases Covere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AE86058-5B0B-4E67-8EA7-F5F14A4576F9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</a:lvl1pPr>
            <a:lvl2pPr>
              <a:buClr>
                <a:schemeClr val="tx1"/>
              </a:buClr>
              <a:buFont typeface="Wingdings" panose="05000000000000000000" pitchFamily="2" charset="2"/>
              <a:buChar char="§"/>
            </a:lvl2pPr>
            <a:lvl3pPr>
              <a:buClr>
                <a:schemeClr val="tx1"/>
              </a:buClr>
              <a:buFont typeface="Wingdings" panose="05000000000000000000" pitchFamily="2" charset="2"/>
              <a:buChar char="§"/>
            </a:lvl3pPr>
            <a:lvl4pPr>
              <a:buClr>
                <a:schemeClr val="tx1"/>
              </a:buClr>
              <a:buFont typeface="Symbol" panose="05050102010706020507" pitchFamily="18" charset="2"/>
              <a:buChar char="-"/>
            </a:lvl4pPr>
            <a:lvl5pPr>
              <a:buSzPct val="125000"/>
              <a:buFont typeface="Rubik" panose="00000500000000000000" pitchFamily="50" charset="-79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r>
              <a:rPr lang="en-US" dirty="0"/>
              <a:t>4 workflows and 3 flow services have been created for the demo. These cover 4 use cases in total as mentioned below:</a:t>
            </a:r>
          </a:p>
          <a:p>
            <a:pPr marL="285750" indent="-285750"/>
            <a:r>
              <a:rPr lang="en-US" dirty="0"/>
              <a:t>Get a List of Budgets for a User</a:t>
            </a:r>
          </a:p>
          <a:p>
            <a:pPr marL="285750" indent="-285750"/>
            <a:r>
              <a:rPr lang="en-US" dirty="0"/>
              <a:t>Create new transaction(s) within the budget</a:t>
            </a:r>
          </a:p>
          <a:p>
            <a:pPr marL="285750" indent="-285750"/>
            <a:r>
              <a:rPr lang="en-US" dirty="0"/>
              <a:t>Update multiple transactions using a combination of workflow and flow service (updates all transactions with a single API call)</a:t>
            </a:r>
          </a:p>
          <a:p>
            <a:pPr marL="285750" indent="-285750"/>
            <a:r>
              <a:rPr lang="en-US" dirty="0"/>
              <a:t>Update multiple transactions using workflow only (updates transactions one by one within a loop)</a:t>
            </a:r>
          </a:p>
        </p:txBody>
      </p:sp>
    </p:spTree>
    <p:extLst>
      <p:ext uri="{BB962C8B-B14F-4D97-AF65-F5344CB8AC3E}">
        <p14:creationId xmlns:p14="http://schemas.microsoft.com/office/powerpoint/2010/main" val="7305444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Get Budgets</a:t>
            </a:r>
            <a:endParaRPr lang="en-IN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415C2F0-A288-48D2-95FB-D0FB37503C67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555250" y="1379199"/>
            <a:ext cx="9136343" cy="4665663"/>
          </a:xfrm>
        </p:spPr>
      </p:pic>
    </p:spTree>
    <p:extLst>
      <p:ext uri="{BB962C8B-B14F-4D97-AF65-F5344CB8AC3E}">
        <p14:creationId xmlns:p14="http://schemas.microsoft.com/office/powerpoint/2010/main" val="34213285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Create New Transactions</a:t>
            </a:r>
            <a:endParaRPr lang="en-IN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EA8CF45-C44A-40DC-A12A-5F586607D29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669740B-FDC5-4515-8AD2-8EDA72B9BD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055" y="1052736"/>
            <a:ext cx="10261489" cy="527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140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Update Multiple Transactions</a:t>
            </a:r>
            <a:endParaRPr lang="en-IN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EA8CF45-C44A-40DC-A12A-5F586607D29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6DEE86-0157-471D-B160-ACC63CD9FE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997913"/>
            <a:ext cx="11421931" cy="5346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8278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Screenshots 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Update Transactions (one at a time)</a:t>
            </a:r>
            <a:endParaRPr lang="en-IN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EA8CF45-C44A-40DC-A12A-5F586607D29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7FBA23-3C22-4A87-BC50-12A8FDE69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997913"/>
            <a:ext cx="11349923" cy="5296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6837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446</Words>
  <Application>Microsoft Office PowerPoint</Application>
  <PresentationFormat>Widescreen</PresentationFormat>
  <Paragraphs>41</Paragraphs>
  <Slides>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Wingdings</vt:lpstr>
      <vt:lpstr>Symbol</vt:lpstr>
      <vt:lpstr>Rubik</vt:lpstr>
      <vt:lpstr>Trebuchet MS</vt:lpstr>
      <vt:lpstr>Software AG 2021</vt:lpstr>
      <vt:lpstr>You Need A Budget Provider</vt:lpstr>
      <vt:lpstr>You Need A Budget (YNAB)</vt:lpstr>
      <vt:lpstr>Use Cases Covered</vt:lpstr>
      <vt:lpstr>Screenshots for workflow</vt:lpstr>
      <vt:lpstr>Screenshots for workflow</vt:lpstr>
      <vt:lpstr>Screenshots for workflow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Singal, Vaibhav</cp:lastModifiedBy>
  <cp:revision>8</cp:revision>
  <dcterms:created xsi:type="dcterms:W3CDTF">2022-01-10T12:32:13Z</dcterms:created>
  <dcterms:modified xsi:type="dcterms:W3CDTF">2022-02-02T07:30:35Z</dcterms:modified>
</cp:coreProperties>
</file>